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91" r:id="rId2"/>
  </p:sldIdLst>
  <p:sldSz cx="9144000" cy="6858000" type="screen4x3"/>
  <p:notesSz cx="7102475" cy="9388475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B600"/>
    <a:srgbClr val="826E72"/>
    <a:srgbClr val="0094C8"/>
    <a:srgbClr val="D7196A"/>
    <a:srgbClr val="15B0C3"/>
    <a:srgbClr val="15B0CF"/>
    <a:srgbClr val="EC6E72"/>
    <a:srgbClr val="E3DE00"/>
    <a:srgbClr val="B6B914"/>
    <a:srgbClr val="9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71" autoAdjust="0"/>
    <p:restoredTop sz="75047" autoAdjust="0"/>
  </p:normalViewPr>
  <p:slideViewPr>
    <p:cSldViewPr snapToGrid="0" snapToObjects="1">
      <p:cViewPr varScale="1">
        <p:scale>
          <a:sx n="72" d="100"/>
          <a:sy n="72" d="100"/>
        </p:scale>
        <p:origin x="1428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1489D33F-2AA3-4838-AAA7-A6748EC4FF9E}" type="datetimeFigureOut">
              <a:rPr lang="en-US" smtClean="0"/>
              <a:t>5/2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4913" y="704850"/>
            <a:ext cx="4692650" cy="3519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459526"/>
            <a:ext cx="5681980" cy="4224814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36F078DE-0EAB-43EC-B0D5-FB8279C2EC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2499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5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1472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5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1498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5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9087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5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300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5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924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5/27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1777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5/27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8948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</p:spPr>
        <p:txBody>
          <a:bodyPr>
            <a:normAutofit/>
          </a:bodyPr>
          <a:lstStyle>
            <a:lvl1pPr algn="l"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5/27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881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5/27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9247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5/27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7494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01C1-04BE-4996-AB3B-C87F51C2A1D7}" type="datetimeFigureOut">
              <a:rPr lang="en-US" smtClean="0"/>
              <a:t>5/27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9925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0D01C1-04BE-4996-AB3B-C87F51C2A1D7}" type="datetimeFigureOut">
              <a:rPr lang="en-US" smtClean="0"/>
              <a:t>5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490F8C-3D0D-4DB1-B2BD-1525EA5CE11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207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Straight Arrow Connector 60"/>
          <p:cNvCxnSpPr>
            <a:cxnSpLocks/>
          </p:cNvCxnSpPr>
          <p:nvPr/>
        </p:nvCxnSpPr>
        <p:spPr>
          <a:xfrm flipV="1">
            <a:off x="6118875" y="3653152"/>
            <a:ext cx="476379" cy="20382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cxnSpLocks/>
            <a:endCxn id="29" idx="3"/>
          </p:cNvCxnSpPr>
          <p:nvPr/>
        </p:nvCxnSpPr>
        <p:spPr>
          <a:xfrm>
            <a:off x="6189955" y="4085299"/>
            <a:ext cx="410822" cy="5572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cxnSpLocks/>
            <a:endCxn id="25" idx="3"/>
          </p:cNvCxnSpPr>
          <p:nvPr/>
        </p:nvCxnSpPr>
        <p:spPr>
          <a:xfrm>
            <a:off x="6189955" y="1589464"/>
            <a:ext cx="281783" cy="14372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cxnSpLocks/>
          </p:cNvCxnSpPr>
          <p:nvPr/>
        </p:nvCxnSpPr>
        <p:spPr>
          <a:xfrm>
            <a:off x="6204359" y="761271"/>
            <a:ext cx="251789" cy="18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cxnSpLocks/>
            <a:endCxn id="49" idx="3"/>
          </p:cNvCxnSpPr>
          <p:nvPr/>
        </p:nvCxnSpPr>
        <p:spPr>
          <a:xfrm>
            <a:off x="3062640" y="5772212"/>
            <a:ext cx="1156665" cy="419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cxnSpLocks/>
            <a:endCxn id="17" idx="3"/>
          </p:cNvCxnSpPr>
          <p:nvPr/>
        </p:nvCxnSpPr>
        <p:spPr>
          <a:xfrm flipV="1">
            <a:off x="2925773" y="1532809"/>
            <a:ext cx="1293535" cy="955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8" name="Object 8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8" name="Object 8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0" name="Group 119"/>
          <p:cNvGrpSpPr/>
          <p:nvPr/>
        </p:nvGrpSpPr>
        <p:grpSpPr>
          <a:xfrm>
            <a:off x="0" y="769873"/>
            <a:ext cx="4219304" cy="5892527"/>
            <a:chOff x="3905711" y="801667"/>
            <a:chExt cx="4732865" cy="6609745"/>
          </a:xfrm>
        </p:grpSpPr>
        <p:cxnSp>
          <p:nvCxnSpPr>
            <p:cNvPr id="70" name="Straight Arrow Connector 69"/>
            <p:cNvCxnSpPr>
              <a:cxnSpLocks/>
            </p:cNvCxnSpPr>
            <p:nvPr/>
          </p:nvCxnSpPr>
          <p:spPr>
            <a:xfrm flipV="1">
              <a:off x="6989513" y="801667"/>
              <a:ext cx="1649063" cy="154218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72"/>
            <p:cNvCxnSpPr/>
            <p:nvPr/>
          </p:nvCxnSpPr>
          <p:spPr>
            <a:xfrm>
              <a:off x="7751009" y="6890314"/>
              <a:ext cx="872753" cy="505642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/>
            <p:cNvCxnSpPr/>
            <p:nvPr/>
          </p:nvCxnSpPr>
          <p:spPr>
            <a:xfrm flipV="1">
              <a:off x="7834222" y="5990604"/>
              <a:ext cx="789541" cy="389484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Freeform 41"/>
            <p:cNvSpPr/>
            <p:nvPr/>
          </p:nvSpPr>
          <p:spPr>
            <a:xfrm>
              <a:off x="5648283" y="842926"/>
              <a:ext cx="2412465" cy="1693322"/>
            </a:xfrm>
            <a:custGeom>
              <a:avLst/>
              <a:gdLst>
                <a:gd name="connsiteX0" fmla="*/ 0 w 1701675"/>
                <a:gd name="connsiteY0" fmla="*/ 850838 h 1701675"/>
                <a:gd name="connsiteX1" fmla="*/ 850838 w 1701675"/>
                <a:gd name="connsiteY1" fmla="*/ 0 h 1701675"/>
                <a:gd name="connsiteX2" fmla="*/ 1701676 w 1701675"/>
                <a:gd name="connsiteY2" fmla="*/ 850838 h 1701675"/>
                <a:gd name="connsiteX3" fmla="*/ 850838 w 1701675"/>
                <a:gd name="connsiteY3" fmla="*/ 1701676 h 1701675"/>
                <a:gd name="connsiteX4" fmla="*/ 0 w 1701675"/>
                <a:gd name="connsiteY4" fmla="*/ 850838 h 1701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1675" h="1701675">
                  <a:moveTo>
                    <a:pt x="0" y="850838"/>
                  </a:moveTo>
                  <a:cubicBezTo>
                    <a:pt x="0" y="380933"/>
                    <a:pt x="380933" y="0"/>
                    <a:pt x="850838" y="0"/>
                  </a:cubicBezTo>
                  <a:cubicBezTo>
                    <a:pt x="1320743" y="0"/>
                    <a:pt x="1701676" y="380933"/>
                    <a:pt x="1701676" y="850838"/>
                  </a:cubicBezTo>
                  <a:cubicBezTo>
                    <a:pt x="1701676" y="1320743"/>
                    <a:pt x="1320743" y="1701676"/>
                    <a:pt x="850838" y="1701676"/>
                  </a:cubicBezTo>
                  <a:cubicBezTo>
                    <a:pt x="380933" y="1701676"/>
                    <a:pt x="0" y="1320743"/>
                    <a:pt x="0" y="850838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chemeClr val="tx2">
                    <a:lumMod val="60000"/>
                    <a:lumOff val="40000"/>
                  </a:schemeClr>
                </a:gs>
                <a:gs pos="4000">
                  <a:schemeClr val="tx2">
                    <a:lumMod val="20000"/>
                    <a:lumOff val="8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273970" tIns="273970" rIns="273970" bIns="273970" numCol="1" spcCol="1270" anchor="ctr" anchorCtr="0">
              <a:noAutofit/>
            </a:bodyPr>
            <a:lstStyle/>
            <a:p>
              <a:pPr algn="ctr" defTabSz="1733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>
                  <a:solidFill>
                    <a:schemeClr val="accent1">
                      <a:lumMod val="50000"/>
                    </a:schemeClr>
                  </a:solidFill>
                </a:rPr>
                <a:t>Meat/</a:t>
              </a:r>
            </a:p>
            <a:p>
              <a:pPr algn="ctr" defTabSz="1733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>
                  <a:solidFill>
                    <a:schemeClr val="accent1">
                      <a:lumMod val="50000"/>
                    </a:schemeClr>
                  </a:solidFill>
                </a:rPr>
                <a:t>Carne</a:t>
              </a:r>
            </a:p>
          </p:txBody>
        </p:sp>
        <p:sp>
          <p:nvSpPr>
            <p:cNvPr id="46" name="Freeform 45"/>
            <p:cNvSpPr/>
            <p:nvPr/>
          </p:nvSpPr>
          <p:spPr>
            <a:xfrm>
              <a:off x="5689544" y="5899799"/>
              <a:ext cx="2468082" cy="1511613"/>
            </a:xfrm>
            <a:custGeom>
              <a:avLst/>
              <a:gdLst>
                <a:gd name="connsiteX0" fmla="*/ 0 w 1511613"/>
                <a:gd name="connsiteY0" fmla="*/ 755807 h 1511613"/>
                <a:gd name="connsiteX1" fmla="*/ 755807 w 1511613"/>
                <a:gd name="connsiteY1" fmla="*/ 0 h 1511613"/>
                <a:gd name="connsiteX2" fmla="*/ 1511614 w 1511613"/>
                <a:gd name="connsiteY2" fmla="*/ 755807 h 1511613"/>
                <a:gd name="connsiteX3" fmla="*/ 755807 w 1511613"/>
                <a:gd name="connsiteY3" fmla="*/ 1511614 h 1511613"/>
                <a:gd name="connsiteX4" fmla="*/ 0 w 1511613"/>
                <a:gd name="connsiteY4" fmla="*/ 755807 h 1511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1613" h="1511613">
                  <a:moveTo>
                    <a:pt x="0" y="755807"/>
                  </a:moveTo>
                  <a:cubicBezTo>
                    <a:pt x="0" y="338386"/>
                    <a:pt x="338386" y="0"/>
                    <a:pt x="755807" y="0"/>
                  </a:cubicBezTo>
                  <a:cubicBezTo>
                    <a:pt x="1173228" y="0"/>
                    <a:pt x="1511614" y="338386"/>
                    <a:pt x="1511614" y="755807"/>
                  </a:cubicBezTo>
                  <a:cubicBezTo>
                    <a:pt x="1511614" y="1173228"/>
                    <a:pt x="1173228" y="1511614"/>
                    <a:pt x="755807" y="1511614"/>
                  </a:cubicBezTo>
                  <a:cubicBezTo>
                    <a:pt x="338386" y="1511614"/>
                    <a:pt x="0" y="1173228"/>
                    <a:pt x="0" y="755807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chemeClr val="tx2">
                    <a:lumMod val="60000"/>
                    <a:lumOff val="40000"/>
                  </a:schemeClr>
                </a:gs>
                <a:gs pos="4000">
                  <a:schemeClr val="tx2">
                    <a:lumMod val="20000"/>
                    <a:lumOff val="8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262011" tIns="262011" rIns="262011" bIns="262011" numCol="1" spcCol="1270" anchor="ctr" anchorCtr="0">
              <a:noAutofit/>
            </a:bodyPr>
            <a:lstStyle/>
            <a:p>
              <a:pPr lvl="0" algn="ctr" defTabSz="2844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>
                  <a:solidFill>
                    <a:schemeClr val="accent1">
                      <a:lumMod val="50000"/>
                    </a:schemeClr>
                  </a:solidFill>
                </a:rPr>
                <a:t>Veggie/</a:t>
              </a:r>
            </a:p>
            <a:p>
              <a:pPr lvl="0" algn="ctr" defTabSz="2844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 err="1">
                  <a:solidFill>
                    <a:schemeClr val="accent1">
                      <a:lumMod val="50000"/>
                    </a:schemeClr>
                  </a:solidFill>
                </a:rPr>
                <a:t>Vegetariano</a:t>
              </a:r>
              <a:endParaRPr lang="en-US" sz="2400" b="1" kern="120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grpSp>
          <p:nvGrpSpPr>
            <p:cNvPr id="118" name="Group 117"/>
            <p:cNvGrpSpPr/>
            <p:nvPr/>
          </p:nvGrpSpPr>
          <p:grpSpPr>
            <a:xfrm>
              <a:off x="5032263" y="2166092"/>
              <a:ext cx="1189881" cy="4061153"/>
              <a:chOff x="5032263" y="2166092"/>
              <a:chExt cx="1189881" cy="4061153"/>
            </a:xfrm>
          </p:grpSpPr>
          <p:sp>
            <p:nvSpPr>
              <p:cNvPr id="41" name="Freeform 40"/>
              <p:cNvSpPr/>
              <p:nvPr/>
            </p:nvSpPr>
            <p:spPr>
              <a:xfrm rot="18107684" flipV="1">
                <a:off x="4974181" y="2224174"/>
                <a:ext cx="1306046" cy="1189881"/>
              </a:xfrm>
              <a:custGeom>
                <a:avLst/>
                <a:gdLst>
                  <a:gd name="connsiteX0" fmla="*/ 0 w 978163"/>
                  <a:gd name="connsiteY0" fmla="*/ 10987 h 21975"/>
                  <a:gd name="connsiteX1" fmla="*/ 978163 w 978163"/>
                  <a:gd name="connsiteY1" fmla="*/ 10987 h 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8163" h="21975">
                    <a:moveTo>
                      <a:pt x="0" y="10987"/>
                    </a:moveTo>
                    <a:lnTo>
                      <a:pt x="978163" y="10987"/>
                    </a:lnTo>
                  </a:path>
                </a:pathLst>
              </a:custGeom>
              <a:noFill/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77326" tIns="-13467" rIns="477328" bIns="-13467" numCol="1" spcCol="1270" anchor="ctr" anchorCtr="0">
                <a:noAutofit/>
              </a:bodyPr>
              <a:lstStyle/>
              <a:p>
                <a:pPr lvl="0" algn="ctr" defTabSz="222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500" kern="1200"/>
              </a:p>
            </p:txBody>
          </p:sp>
          <p:sp>
            <p:nvSpPr>
              <p:cNvPr id="45" name="Freeform 44"/>
              <p:cNvSpPr/>
              <p:nvPr/>
            </p:nvSpPr>
            <p:spPr>
              <a:xfrm rot="3622014">
                <a:off x="4663695" y="4763783"/>
                <a:ext cx="1926078" cy="1000845"/>
              </a:xfrm>
              <a:custGeom>
                <a:avLst/>
                <a:gdLst>
                  <a:gd name="connsiteX0" fmla="*/ 0 w 1443103"/>
                  <a:gd name="connsiteY0" fmla="*/ 10987 h 21975"/>
                  <a:gd name="connsiteX1" fmla="*/ 1443103 w 1443103"/>
                  <a:gd name="connsiteY1" fmla="*/ 10987 h 2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43103" h="21975">
                    <a:moveTo>
                      <a:pt x="0" y="10987"/>
                    </a:moveTo>
                    <a:lnTo>
                      <a:pt x="1443103" y="10987"/>
                    </a:lnTo>
                  </a:path>
                </a:pathLst>
              </a:custGeom>
              <a:noFill/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98174" tIns="-25091" rIns="698173" bIns="-25090" numCol="1" spcCol="1270" anchor="ctr" anchorCtr="0">
                <a:noAutofit/>
              </a:bodyPr>
              <a:lstStyle/>
              <a:p>
                <a:pPr lvl="0" algn="ctr" defTabSz="222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500" kern="1200"/>
              </a:p>
            </p:txBody>
          </p:sp>
        </p:grpSp>
        <p:sp>
          <p:nvSpPr>
            <p:cNvPr id="89" name="Freeform 88"/>
            <p:cNvSpPr/>
            <p:nvPr/>
          </p:nvSpPr>
          <p:spPr>
            <a:xfrm>
              <a:off x="3905711" y="2963515"/>
              <a:ext cx="1620039" cy="1620039"/>
            </a:xfrm>
            <a:custGeom>
              <a:avLst/>
              <a:gdLst>
                <a:gd name="connsiteX0" fmla="*/ 0 w 823848"/>
                <a:gd name="connsiteY0" fmla="*/ 411924 h 823848"/>
                <a:gd name="connsiteX1" fmla="*/ 411924 w 823848"/>
                <a:gd name="connsiteY1" fmla="*/ 0 h 823848"/>
                <a:gd name="connsiteX2" fmla="*/ 823848 w 823848"/>
                <a:gd name="connsiteY2" fmla="*/ 411924 h 823848"/>
                <a:gd name="connsiteX3" fmla="*/ 411924 w 823848"/>
                <a:gd name="connsiteY3" fmla="*/ 823848 h 823848"/>
                <a:gd name="connsiteX4" fmla="*/ 0 w 823848"/>
                <a:gd name="connsiteY4" fmla="*/ 411924 h 82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848" h="823848">
                  <a:moveTo>
                    <a:pt x="0" y="411924"/>
                  </a:moveTo>
                  <a:cubicBezTo>
                    <a:pt x="0" y="184425"/>
                    <a:pt x="184425" y="0"/>
                    <a:pt x="411924" y="0"/>
                  </a:cubicBezTo>
                  <a:cubicBezTo>
                    <a:pt x="639423" y="0"/>
                    <a:pt x="823848" y="184425"/>
                    <a:pt x="823848" y="411924"/>
                  </a:cubicBezTo>
                  <a:cubicBezTo>
                    <a:pt x="823848" y="639423"/>
                    <a:pt x="639423" y="823848"/>
                    <a:pt x="411924" y="823848"/>
                  </a:cubicBezTo>
                  <a:cubicBezTo>
                    <a:pt x="184425" y="823848"/>
                    <a:pt x="0" y="639423"/>
                    <a:pt x="0" y="411924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chemeClr val="bg1">
                    <a:lumMod val="65000"/>
                  </a:schemeClr>
                </a:gs>
                <a:gs pos="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b="1" dirty="0">
                  <a:solidFill>
                    <a:schemeClr val="tx2">
                      <a:lumMod val="50000"/>
                    </a:schemeClr>
                  </a:solidFill>
                  <a:effectLst>
                    <a:innerShdw blurRad="114300">
                      <a:prstClr val="black"/>
                    </a:innerShdw>
                  </a:effectLst>
                </a:rPr>
                <a:t> TACOS</a:t>
              </a:r>
            </a:p>
          </p:txBody>
        </p:sp>
      </p:grpSp>
      <p:sp>
        <p:nvSpPr>
          <p:cNvPr id="69" name="Rounded Rectangle 53"/>
          <p:cNvSpPr/>
          <p:nvPr/>
        </p:nvSpPr>
        <p:spPr>
          <a:xfrm flipH="1">
            <a:off x="3901626" y="0"/>
            <a:ext cx="2497666" cy="55022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ain Ingredient</a:t>
            </a:r>
          </a:p>
        </p:txBody>
      </p:sp>
      <p:sp>
        <p:nvSpPr>
          <p:cNvPr id="16" name="Rounded Rectangle 53"/>
          <p:cNvSpPr/>
          <p:nvPr/>
        </p:nvSpPr>
        <p:spPr>
          <a:xfrm flipH="1">
            <a:off x="4219307" y="585841"/>
            <a:ext cx="2022465" cy="330380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sh</a:t>
            </a:r>
          </a:p>
        </p:txBody>
      </p:sp>
      <p:sp>
        <p:nvSpPr>
          <p:cNvPr id="17" name="Rounded Rectangle 53"/>
          <p:cNvSpPr/>
          <p:nvPr/>
        </p:nvSpPr>
        <p:spPr>
          <a:xfrm flipH="1">
            <a:off x="4219308" y="1371206"/>
            <a:ext cx="2022463" cy="323206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Rounded Rectangle 53"/>
          <p:cNvSpPr/>
          <p:nvPr/>
        </p:nvSpPr>
        <p:spPr>
          <a:xfrm flipH="1">
            <a:off x="4219307" y="5256935"/>
            <a:ext cx="2022465" cy="312439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Rounded Rectangle 53"/>
          <p:cNvSpPr/>
          <p:nvPr/>
        </p:nvSpPr>
        <p:spPr>
          <a:xfrm flipH="1">
            <a:off x="6399292" y="4465"/>
            <a:ext cx="1615494" cy="55022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Taco</a:t>
            </a:r>
            <a:r>
              <a:rPr lang="en-CA" b="1" dirty="0">
                <a:solidFill>
                  <a:schemeClr val="tx1"/>
                </a:solidFill>
              </a:rPr>
              <a:t>’s Name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20" name="Rounded Rectangle 53"/>
          <p:cNvSpPr/>
          <p:nvPr/>
        </p:nvSpPr>
        <p:spPr>
          <a:xfrm flipH="1">
            <a:off x="6456148" y="572079"/>
            <a:ext cx="2237278" cy="296864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rgbClr val="002060"/>
            </a:solidFill>
            <a:prstDash val="soli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Rounded Rectangle 53"/>
          <p:cNvSpPr/>
          <p:nvPr/>
        </p:nvSpPr>
        <p:spPr>
          <a:xfrm flipH="1">
            <a:off x="6456148" y="1133665"/>
            <a:ext cx="2237278" cy="323205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rgbClr val="002060"/>
            </a:solidFill>
            <a:prstDash val="soli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astor</a:t>
            </a:r>
          </a:p>
        </p:txBody>
      </p:sp>
      <p:sp>
        <p:nvSpPr>
          <p:cNvPr id="22" name="Rounded Rectangle 53"/>
          <p:cNvSpPr/>
          <p:nvPr/>
        </p:nvSpPr>
        <p:spPr>
          <a:xfrm flipH="1">
            <a:off x="6521966" y="2266650"/>
            <a:ext cx="2171457" cy="336575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rgbClr val="002060"/>
            </a:solidFill>
            <a:prstDash val="soli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Rounded Rectangle 53"/>
          <p:cNvSpPr/>
          <p:nvPr/>
        </p:nvSpPr>
        <p:spPr>
          <a:xfrm flipH="1">
            <a:off x="6560204" y="2718706"/>
            <a:ext cx="2173794" cy="300869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rgbClr val="002060"/>
            </a:solidFill>
            <a:prstDash val="soli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4" name="Rounded Rectangle 53"/>
          <p:cNvSpPr/>
          <p:nvPr/>
        </p:nvSpPr>
        <p:spPr>
          <a:xfrm flipH="1">
            <a:off x="4219307" y="3787479"/>
            <a:ext cx="2022463" cy="335070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Rounded Rectangle 53"/>
          <p:cNvSpPr/>
          <p:nvPr/>
        </p:nvSpPr>
        <p:spPr>
          <a:xfrm flipH="1">
            <a:off x="6471738" y="1564561"/>
            <a:ext cx="2221687" cy="337249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rgbClr val="002060"/>
            </a:solidFill>
            <a:prstDash val="soli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Rounded Rectangle 53"/>
          <p:cNvSpPr/>
          <p:nvPr/>
        </p:nvSpPr>
        <p:spPr>
          <a:xfrm flipH="1">
            <a:off x="4219307" y="2513098"/>
            <a:ext cx="2005975" cy="351396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Rounded Rectangle 53"/>
          <p:cNvSpPr/>
          <p:nvPr/>
        </p:nvSpPr>
        <p:spPr>
          <a:xfrm flipH="1">
            <a:off x="6596100" y="3490615"/>
            <a:ext cx="2097325" cy="296864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rgbClr val="002060"/>
            </a:solidFill>
            <a:prstDash val="soli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8" name="Rounded Rectangle 53"/>
          <p:cNvSpPr/>
          <p:nvPr/>
        </p:nvSpPr>
        <p:spPr>
          <a:xfrm flipH="1">
            <a:off x="6600777" y="4014322"/>
            <a:ext cx="2097326" cy="326418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rgbClr val="002060"/>
            </a:solidFill>
            <a:prstDash val="soli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9" name="Rounded Rectangle 53"/>
          <p:cNvSpPr/>
          <p:nvPr/>
        </p:nvSpPr>
        <p:spPr>
          <a:xfrm flipH="1">
            <a:off x="6600777" y="4494125"/>
            <a:ext cx="2092646" cy="296864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rgbClr val="002060"/>
            </a:solidFill>
            <a:prstDash val="soli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33" name="Straight Arrow Connector 32"/>
          <p:cNvCxnSpPr>
            <a:cxnSpLocks/>
          </p:cNvCxnSpPr>
          <p:nvPr/>
        </p:nvCxnSpPr>
        <p:spPr>
          <a:xfrm>
            <a:off x="3084100" y="2240450"/>
            <a:ext cx="1152646" cy="43641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cxnSpLocks/>
            <a:endCxn id="24" idx="3"/>
          </p:cNvCxnSpPr>
          <p:nvPr/>
        </p:nvCxnSpPr>
        <p:spPr>
          <a:xfrm>
            <a:off x="2785153" y="2306521"/>
            <a:ext cx="1434154" cy="164849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53"/>
          <p:cNvSpPr/>
          <p:nvPr/>
        </p:nvSpPr>
        <p:spPr>
          <a:xfrm flipH="1">
            <a:off x="4219305" y="6035016"/>
            <a:ext cx="2022465" cy="312439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1" name="Rounded Rectangle 53"/>
          <p:cNvSpPr/>
          <p:nvPr/>
        </p:nvSpPr>
        <p:spPr>
          <a:xfrm flipH="1">
            <a:off x="4219304" y="6494499"/>
            <a:ext cx="2022465" cy="288661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oblano Peppers</a:t>
            </a:r>
          </a:p>
        </p:txBody>
      </p:sp>
      <p:sp>
        <p:nvSpPr>
          <p:cNvPr id="52" name="Rounded Rectangle 53"/>
          <p:cNvSpPr/>
          <p:nvPr/>
        </p:nvSpPr>
        <p:spPr>
          <a:xfrm flipH="1">
            <a:off x="6560204" y="5143834"/>
            <a:ext cx="2092646" cy="296864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rgbClr val="002060"/>
            </a:solidFill>
            <a:prstDash val="soli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Hongos</a:t>
            </a:r>
            <a:r>
              <a:rPr lang="en-US" dirty="0">
                <a:solidFill>
                  <a:schemeClr val="tx1"/>
                </a:solidFill>
              </a:rPr>
              <a:t> con Kale</a:t>
            </a:r>
          </a:p>
        </p:txBody>
      </p:sp>
      <p:sp>
        <p:nvSpPr>
          <p:cNvPr id="53" name="Rounded Rectangle 53"/>
          <p:cNvSpPr/>
          <p:nvPr/>
        </p:nvSpPr>
        <p:spPr>
          <a:xfrm flipH="1">
            <a:off x="6560204" y="5530960"/>
            <a:ext cx="2092646" cy="296864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rgbClr val="002060"/>
            </a:solidFill>
            <a:prstDash val="soli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Veggie </a:t>
            </a:r>
            <a:r>
              <a:rPr lang="en-US" dirty="0" err="1">
                <a:solidFill>
                  <a:schemeClr val="tx1"/>
                </a:solidFill>
              </a:rPr>
              <a:t>Ting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4" name="Rounded Rectangle 53"/>
          <p:cNvSpPr/>
          <p:nvPr/>
        </p:nvSpPr>
        <p:spPr>
          <a:xfrm flipH="1">
            <a:off x="6521966" y="6054667"/>
            <a:ext cx="2092646" cy="296864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rgbClr val="002060"/>
            </a:solidFill>
            <a:prstDash val="soli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5" name="Rounded Rectangle 53"/>
          <p:cNvSpPr/>
          <p:nvPr/>
        </p:nvSpPr>
        <p:spPr>
          <a:xfrm flipH="1">
            <a:off x="6560204" y="6500189"/>
            <a:ext cx="2092646" cy="296864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lumMod val="65000"/>
                </a:schemeClr>
              </a:gs>
              <a:gs pos="0">
                <a:schemeClr val="bg1"/>
              </a:gs>
            </a:gsLst>
            <a:lin ang="2700000" scaled="1"/>
            <a:tileRect/>
          </a:gradFill>
          <a:ln>
            <a:solidFill>
              <a:srgbClr val="002060"/>
            </a:solidFill>
            <a:prstDash val="solid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44" name="Straight Arrow Connector 43"/>
          <p:cNvCxnSpPr>
            <a:cxnSpLocks/>
          </p:cNvCxnSpPr>
          <p:nvPr/>
        </p:nvCxnSpPr>
        <p:spPr>
          <a:xfrm>
            <a:off x="6241773" y="6197846"/>
            <a:ext cx="251789" cy="18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cxnSpLocks/>
          </p:cNvCxnSpPr>
          <p:nvPr/>
        </p:nvCxnSpPr>
        <p:spPr>
          <a:xfrm>
            <a:off x="6267841" y="6638640"/>
            <a:ext cx="251789" cy="18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>
            <a:cxnSpLocks/>
          </p:cNvCxnSpPr>
          <p:nvPr/>
        </p:nvCxnSpPr>
        <p:spPr>
          <a:xfrm>
            <a:off x="6225282" y="2741028"/>
            <a:ext cx="314901" cy="1950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>
            <a:cxnSpLocks/>
          </p:cNvCxnSpPr>
          <p:nvPr/>
        </p:nvCxnSpPr>
        <p:spPr>
          <a:xfrm>
            <a:off x="6274702" y="5532100"/>
            <a:ext cx="281783" cy="14372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cxnSpLocks/>
          </p:cNvCxnSpPr>
          <p:nvPr/>
        </p:nvCxnSpPr>
        <p:spPr>
          <a:xfrm>
            <a:off x="6225325" y="3942949"/>
            <a:ext cx="347934" cy="23458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>
            <a:cxnSpLocks/>
          </p:cNvCxnSpPr>
          <p:nvPr/>
        </p:nvCxnSpPr>
        <p:spPr>
          <a:xfrm flipV="1">
            <a:off x="6235140" y="1334436"/>
            <a:ext cx="221008" cy="2077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>
            <a:cxnSpLocks/>
            <a:stCxn id="26" idx="1"/>
          </p:cNvCxnSpPr>
          <p:nvPr/>
        </p:nvCxnSpPr>
        <p:spPr>
          <a:xfrm flipV="1">
            <a:off x="6225282" y="2427952"/>
            <a:ext cx="263567" cy="26084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cxnSpLocks/>
            <a:stCxn id="18" idx="1"/>
          </p:cNvCxnSpPr>
          <p:nvPr/>
        </p:nvCxnSpPr>
        <p:spPr>
          <a:xfrm flipV="1">
            <a:off x="6241772" y="5211907"/>
            <a:ext cx="305604" cy="2012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60195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2" val="925573dd58cd5a69add879f5993032275b8827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140-converging-arrows-powerpoint-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alpha val="46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140-converging-arrows-powerpoint-template</Template>
  <TotalTime>2689</TotalTime>
  <Words>22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1140-converging-arrows-powerpoint-templat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verging Arrows Template</dc:title>
  <dc:creator>SlideHunter</dc:creator>
  <cp:lastModifiedBy>nanciespinoza@gmail.com</cp:lastModifiedBy>
  <cp:revision>168</cp:revision>
  <cp:lastPrinted>2019-05-24T06:17:40Z</cp:lastPrinted>
  <dcterms:created xsi:type="dcterms:W3CDTF">2013-07-28T22:59:31Z</dcterms:created>
  <dcterms:modified xsi:type="dcterms:W3CDTF">2019-05-27T21:42:41Z</dcterms:modified>
</cp:coreProperties>
</file>